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8"/>
  </p:notesMasterIdLst>
  <p:handoutMasterIdLst>
    <p:handoutMasterId r:id="rId49"/>
  </p:handoutMasterIdLst>
  <p:sldIdLst>
    <p:sldId id="256" r:id="rId2"/>
    <p:sldId id="257" r:id="rId3"/>
    <p:sldId id="258" r:id="rId4"/>
    <p:sldId id="259" r:id="rId5"/>
    <p:sldId id="260" r:id="rId6"/>
    <p:sldId id="261" r:id="rId7"/>
    <p:sldId id="264" r:id="rId8"/>
    <p:sldId id="263" r:id="rId9"/>
    <p:sldId id="265" r:id="rId10"/>
    <p:sldId id="267" r:id="rId11"/>
    <p:sldId id="305" r:id="rId12"/>
    <p:sldId id="306" r:id="rId13"/>
    <p:sldId id="307" r:id="rId14"/>
    <p:sldId id="308" r:id="rId15"/>
    <p:sldId id="276" r:id="rId16"/>
    <p:sldId id="262" r:id="rId17"/>
    <p:sldId id="268" r:id="rId18"/>
    <p:sldId id="269" r:id="rId19"/>
    <p:sldId id="277" r:id="rId20"/>
    <p:sldId id="278" r:id="rId21"/>
    <p:sldId id="280" r:id="rId22"/>
    <p:sldId id="281" r:id="rId23"/>
    <p:sldId id="285" r:id="rId24"/>
    <p:sldId id="283" r:id="rId25"/>
    <p:sldId id="288" r:id="rId26"/>
    <p:sldId id="284" r:id="rId27"/>
    <p:sldId id="290" r:id="rId28"/>
    <p:sldId id="289" r:id="rId29"/>
    <p:sldId id="282" r:id="rId30"/>
    <p:sldId id="291" r:id="rId31"/>
    <p:sldId id="300" r:id="rId32"/>
    <p:sldId id="292" r:id="rId33"/>
    <p:sldId id="271" r:id="rId34"/>
    <p:sldId id="301" r:id="rId35"/>
    <p:sldId id="302" r:id="rId36"/>
    <p:sldId id="304" r:id="rId37"/>
    <p:sldId id="303" r:id="rId38"/>
    <p:sldId id="293" r:id="rId39"/>
    <p:sldId id="298" r:id="rId40"/>
    <p:sldId id="297" r:id="rId41"/>
    <p:sldId id="299" r:id="rId42"/>
    <p:sldId id="294" r:id="rId43"/>
    <p:sldId id="296" r:id="rId44"/>
    <p:sldId id="270" r:id="rId45"/>
    <p:sldId id="295" r:id="rId46"/>
    <p:sldId id="273" r:id="rId4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DC855"/>
    <a:srgbClr val="D5FA68"/>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91822" autoAdjust="0"/>
  </p:normalViewPr>
  <p:slideViewPr>
    <p:cSldViewPr snapToGrid="0">
      <p:cViewPr varScale="1">
        <p:scale>
          <a:sx n="104" d="100"/>
          <a:sy n="104" d="100"/>
        </p:scale>
        <p:origin x="570" y="72"/>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8.gif"/><Relationship Id="rId5" Type="http://schemas.openxmlformats.org/officeDocument/2006/relationships/image" Target="../media/image19.gif"/><Relationship Id="rId4" Type="http://schemas.openxmlformats.org/officeDocument/2006/relationships/notesSlide" Target="../notesSlides/notesSlide1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8.gif"/><Relationship Id="rId5" Type="http://schemas.openxmlformats.org/officeDocument/2006/relationships/image" Target="../media/image19.gif"/><Relationship Id="rId4" Type="http://schemas.openxmlformats.org/officeDocument/2006/relationships/notesSlide" Target="../notesSlides/notesSlide19.xml"/></Relationships>
</file>

<file path=ppt/slides/_rels/slide35.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28.gif"/></Relationships>
</file>

<file path=ppt/slides/_rels/slide36.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8.gif"/></Relationships>
</file>

<file path=ppt/slides/_rels/slide37.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8.gi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8.jpeg"/><Relationship Id="rId4" Type="http://schemas.openxmlformats.org/officeDocument/2006/relationships/image" Target="../media/image19.gif"/></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41.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5976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1181" y="1129624"/>
            <a:ext cx="4966879" cy="32484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0970" y="4555671"/>
            <a:ext cx="5067300" cy="2019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5856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393</TotalTime>
  <Words>1632</Words>
  <Application>Microsoft Office PowerPoint</Application>
  <PresentationFormat>Widescreen</PresentationFormat>
  <Paragraphs>342</Paragraphs>
  <Slides>46</Slides>
  <Notes>26</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6</vt:i4>
      </vt:variant>
    </vt:vector>
  </HeadingPairs>
  <TitlesOfParts>
    <vt:vector size="58"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owerPoint Presentation</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53</cp:revision>
  <dcterms:created xsi:type="dcterms:W3CDTF">2021-12-20T17:41:23Z</dcterms:created>
  <dcterms:modified xsi:type="dcterms:W3CDTF">2022-01-09T12:26:07Z</dcterms:modified>
</cp:coreProperties>
</file>